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7728" r:id="rId2"/>
    <p:sldId id="9817" r:id="rId3"/>
    <p:sldId id="9826" r:id="rId4"/>
    <p:sldId id="9820" r:id="rId5"/>
    <p:sldId id="9816" r:id="rId6"/>
    <p:sldId id="9821" r:id="rId7"/>
    <p:sldId id="9825" r:id="rId8"/>
    <p:sldId id="9823" r:id="rId9"/>
    <p:sldId id="9827" r:id="rId10"/>
    <p:sldId id="9822" r:id="rId11"/>
  </p:sldIdLst>
  <p:sldSz cx="10693400" cy="7561263"/>
  <p:notesSz cx="7104063" cy="10234613"/>
  <p:embeddedFontLst>
    <p:embeddedFont>
      <p:font typeface="Avenir Next LT Pro" panose="020B0504020202020204" pitchFamily="34" charset="0"/>
      <p:regular r:id="rId14"/>
      <p:bold r:id="rId15"/>
      <p:italic r:id="rId16"/>
      <p:boldItalic r:id="rId17"/>
    </p:embeddedFont>
    <p:embeddedFont>
      <p:font typeface="Roboto" panose="02000000000000000000" pitchFamily="2" charset="0"/>
      <p:regular r:id="rId18"/>
      <p:bold r:id="rId19"/>
      <p:italic r:id="rId20"/>
      <p:boldItalic r:id="rId21"/>
    </p:embeddedFont>
    <p:embeddedFont>
      <p:font typeface="Roboto Mono" panose="00000009000000000000" pitchFamily="49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5" dt="2024-11-20T09:30:59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455" autoAdjust="0"/>
    <p:restoredTop sz="96280" autoAdjust="0"/>
  </p:normalViewPr>
  <p:slideViewPr>
    <p:cSldViewPr showGuides="1">
      <p:cViewPr varScale="1">
        <p:scale>
          <a:sx n="84" d="100"/>
          <a:sy n="84" d="100"/>
        </p:scale>
        <p:origin x="444" y="90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0.xml"/><Relationship Id="rId3" Type="http://schemas.openxmlformats.org/officeDocument/2006/relationships/slide" Target="slides/slide5.xml"/><Relationship Id="rId7" Type="http://schemas.openxmlformats.org/officeDocument/2006/relationships/slide" Target="slides/slide9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8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09:33:26.028" v="520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09:30:19.407" v="259" actId="20577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09:26:26.031" v="158" actId="20577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09:29:13.084" v="173" actId="20577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D6EE8BAE-46AB-46C6-9CA3-6B690B9A6038}" type="datetimeFigureOut">
              <a:rPr lang="en-GB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72AA3719-E687-43F7-8503-090D4A8744B2}" type="datetimeFigureOut">
              <a:rPr lang="en-GB"/>
              <a:pPr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FD483-AD0E-42FC-8ABB-13F9BFE7203D}" type="datetime1">
              <a:rPr lang="da-DK"/>
              <a:t>20-11-2024</a:t>
            </a:fld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 dt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3" Type="http://schemas.openxmlformats.org/officeDocument/2006/relationships/slide" Target="slide4.xml"/><Relationship Id="rId7" Type="http://schemas.openxmlformats.org/officeDocument/2006/relationships/slide" Target="slide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r5iv.labs.arxiv.org/html/2310.14122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to Prioritize Now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44319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Extraction / Scrap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For all portfolio names that have C4 analyst score, extract PDF prospectuses from SharePoint (</a:t>
            </a:r>
            <a:r>
              <a:rPr lang="en-GB" sz="1000" dirty="0" err="1"/>
              <a:t>Findox</a:t>
            </a:r>
            <a:r>
              <a:rPr lang="en-GB" sz="1000" dirty="0"/>
              <a:t>)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nefits of current approach: Easy to link to all other C4 data using unique Id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rtfalls of current approach: Only 145 companies (out of 600+) had pdf prospectuses on SharePoint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ternative approach to get more data: In the beginning of the project, I wrote code to web scrape Prospectuses based on ISIN (International Securities Identification Number) straight from the regulatory website. Would be possible to link to C4 universe but takes some time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Base Experiment Results 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DA26E-71C1-B7AF-0FCD-E68CF638B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B677AB-C73A-EC3B-2F8F-41E4A64F3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EB18C8-A61D-EE00-1CCA-28E6655194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B5BA27-D622-5311-DC78-761578DC0D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205"/>
          <a:stretch/>
        </p:blipFill>
        <p:spPr>
          <a:xfrm>
            <a:off x="1461316" y="3394393"/>
            <a:ext cx="6818967" cy="1343453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5C9A5C7-7CD0-BCBD-F7AB-E4C3E53764F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BE14F1-0F1A-B664-ED79-64E596815B1B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7395F-467E-AC9E-A4E5-17EE7C89696F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DDA794-89F7-7722-6F3B-482B026EAA5C}"/>
              </a:ext>
            </a:extLst>
          </p:cNvPr>
          <p:cNvSpPr txBox="1"/>
          <p:nvPr/>
        </p:nvSpPr>
        <p:spPr>
          <a:xfrm>
            <a:off x="396000" y="4906213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96622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17E49B-24EF-BDDB-36C4-82AD338012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8686A-1CA6-EA47-8CF1-B56BC9B03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797965-FC4D-8CB3-1AD3-9A5B5EF9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E6F5E-5D2E-04D6-0275-BD1CF02682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F7CBB1-0E9C-65D5-D2A7-986579C52A9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their data provider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so that we have issuer unique id that we can link to all relevant data in DB (e.g. analyst score).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I now have a Dataset with ~150 names with C4 Analyst Scores.</a:t>
            </a:r>
          </a:p>
          <a:p>
            <a:endParaRPr lang="en-DK" sz="1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2BE61D-E160-1767-1518-68D41AD211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9" name="Picture 8" descr="A screenshot of a calendar&#10;&#10;Description automatically generated">
            <a:extLst>
              <a:ext uri="{FF2B5EF4-FFF2-40B4-BE49-F238E27FC236}">
                <a16:creationId xmlns:a16="http://schemas.microsoft.com/office/drawing/2014/main" id="{9805B0EA-EC17-C98E-370A-4DFA0C5F41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0" y="3624628"/>
            <a:ext cx="6148759" cy="18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237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13877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511524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on researching I chose a Prompting Strategy Based on Specific Research Paper (</a:t>
            </a: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5iv.labs.arxiv.org/html/2310.14122</a:t>
            </a: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field of research on LLMs: Relevance Generation (LLM is prompted to answer whether a document is relevant to a query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paper found that instead of using LLM for binary relevance generation (“Yes” / “No” output), fine-grained relevance labels improved performance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fter seeing LLM performance when performing binary decisions on relevance, I used three level relevance generation:</a:t>
            </a: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’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specific sub risks from the Risk Factors section. The {questions} is a specific sub-score label. 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900" dirty="0"/>
              <a:t>I turned into:</a:t>
            </a:r>
            <a:endParaRPr lang="en-GB" sz="9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For the LLM modelling, 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3799046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64" y="3799046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6468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/>
              <a:t>I </a:t>
            </a:r>
            <a:r>
              <a:rPr lang="en-GB" sz="1000" dirty="0"/>
              <a:t>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328</TotalTime>
  <Words>1357</Words>
  <Application>Microsoft Office PowerPoint</Application>
  <PresentationFormat>Custom</PresentationFormat>
  <Paragraphs>126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Wingdings</vt:lpstr>
      <vt:lpstr>Menlo</vt:lpstr>
      <vt:lpstr>Arial</vt:lpstr>
      <vt:lpstr>Avenir Next LT Pro</vt:lpstr>
      <vt:lpstr>Roboto Mono</vt:lpstr>
      <vt:lpstr>Calibri</vt:lpstr>
      <vt:lpstr>Roboto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The Practical</vt:lpstr>
      <vt:lpstr>What to Prioritize Now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32</cp:revision>
  <cp:lastPrinted>2020-08-17T11:08:44Z</cp:lastPrinted>
  <dcterms:created xsi:type="dcterms:W3CDTF">2012-12-10T20:52:52Z</dcterms:created>
  <dcterms:modified xsi:type="dcterms:W3CDTF">2024-11-20T09:3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